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97721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01041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hyperlink" Target="https://www.youtube.com/watch?v=xzDr_tbL-es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hlinkClick r:id="rId2"/>
            <a:extLst>
              <a:ext uri="{FF2B5EF4-FFF2-40B4-BE49-F238E27FC236}">
                <a16:creationId xmlns:a16="http://schemas.microsoft.com/office/drawing/2014/main" id="{BBEDF25A-81AE-4879-80E4-F7D80782410D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09" b="41127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 January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Benedict Cumberbatch, Claire Foy, Andrea </a:t>
            </a:r>
            <a:r>
              <a:rPr lang="en-US" dirty="0" err="1">
                <a:solidFill>
                  <a:schemeClr val="accent6"/>
                </a:solidFill>
              </a:rPr>
              <a:t>Riseborough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Will Sharpe (</a:t>
            </a:r>
            <a:r>
              <a:rPr lang="en-US" i="1" dirty="0">
                <a:solidFill>
                  <a:schemeClr val="accent6"/>
                </a:solidFill>
              </a:rPr>
              <a:t>Black Pond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The Aeronauts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Benedict Cumberbatch and Claire Foy lead a winning British cast in this charming drama that has received rapturous early 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66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72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English artist Louis Wain rises to prominence at the end of the 19th century for his surreal cat paintings that seemed to reflect his declining sanity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Electrical Life of Louis Wai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 curious true story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2233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Electrical Life of Louis Wai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The Electrical Life of Louis Wain</dc:description>
  <cp:lastModifiedBy/>
  <cp:revision>1</cp:revision>
  <dcterms:created xsi:type="dcterms:W3CDTF">2019-03-25T11:13:20Z</dcterms:created>
  <dcterms:modified xsi:type="dcterms:W3CDTF">2022-01-19T16:59:22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The Electrical Life of Louis Wain</vt:lpwstr>
  </property>
</Properties>
</file>